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269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F7F7F"/>
    <a:srgbClr val="EF224B"/>
    <a:srgbClr val="7E0080"/>
    <a:srgbClr val="DF6FA0"/>
    <a:srgbClr val="9B51B4"/>
    <a:srgbClr val="D7B9E1"/>
    <a:srgbClr val="F2F2F2"/>
    <a:srgbClr val="2B4871"/>
    <a:srgbClr val="05BADD"/>
    <a:srgbClr val="FFB40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9969" autoAdjust="0"/>
    <p:restoredTop sz="94558"/>
  </p:normalViewPr>
  <p:slideViewPr>
    <p:cSldViewPr snapToGrid="0">
      <p:cViewPr varScale="1">
        <p:scale>
          <a:sx n="104" d="100"/>
          <a:sy n="104" d="100"/>
        </p:scale>
        <p:origin x="1158" y="108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 varScale="1">
      <p:scale>
        <a:sx n="1" d="1"/>
        <a:sy n="1" d="1"/>
      </p:scale>
      <p:origin x="0" y="-22368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5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5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57D2F44-BC3F-D8BD-359D-6F796B628E65}"/>
              </a:ext>
            </a:extLst>
          </p:cNvPr>
          <p:cNvSpPr/>
          <p:nvPr userDrawn="1"/>
        </p:nvSpPr>
        <p:spPr>
          <a:xfrm flipH="1">
            <a:off x="0" y="6757416"/>
            <a:ext cx="12161520" cy="100584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20000"/>
                  <a:lumOff val="80000"/>
                </a:schemeClr>
              </a:gs>
              <a:gs pos="100000">
                <a:schemeClr val="accent2">
                  <a:lumMod val="20000"/>
                  <a:lumOff val="80000"/>
                  <a:alpha val="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: Top Corners Rounded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11325812" y="6505575"/>
            <a:ext cx="528138" cy="352425"/>
          </a:xfrm>
          <a:prstGeom prst="round2Same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57824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bg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Rectangle: Top Corners Rounded 5">
            <a:extLst>
              <a:ext uri="{FF2B5EF4-FFF2-40B4-BE49-F238E27FC236}">
                <a16:creationId xmlns:a16="http://schemas.microsoft.com/office/drawing/2014/main" id="{F770768B-E889-E357-3F75-B2F864830D7E}"/>
              </a:ext>
            </a:extLst>
          </p:cNvPr>
          <p:cNvSpPr/>
          <p:nvPr userDrawn="1"/>
        </p:nvSpPr>
        <p:spPr>
          <a:xfrm rot="5400000">
            <a:off x="-252936" y="360262"/>
            <a:ext cx="734470" cy="228600"/>
          </a:xfrm>
          <a:prstGeom prst="round2SameRect">
            <a:avLst>
              <a:gd name="adj1" fmla="val 22222"/>
              <a:gd name="adj2" fmla="val 0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107327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D6526DE-D7DE-A8A7-C9E3-3422FD69841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A28741A3-EDD6-8B92-4D6F-CA445A2E445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28741A3-EDD6-8B92-4D6F-CA445A2E44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13A15E3-4C06-7EF6-D9F6-DB192875DE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xt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18521A70-95CD-73D6-105C-DB49C688AFF7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1</a:t>
            </a:fld>
            <a:endParaRPr lang="en-US" sz="1200" dirty="0">
              <a:solidFill>
                <a:schemeClr val="bg1"/>
              </a:solidFill>
            </a:endParaRPr>
          </a:p>
        </p:txBody>
      </p:sp>
      <p:grpSp>
        <p:nvGrpSpPr>
          <p:cNvPr id="51" name="Group 50">
            <a:extLst>
              <a:ext uri="{FF2B5EF4-FFF2-40B4-BE49-F238E27FC236}">
                <a16:creationId xmlns:a16="http://schemas.microsoft.com/office/drawing/2014/main" id="{B1336655-535B-31F5-D2F2-1B1FB93118B6}"/>
              </a:ext>
            </a:extLst>
          </p:cNvPr>
          <p:cNvGrpSpPr/>
          <p:nvPr/>
        </p:nvGrpSpPr>
        <p:grpSpPr>
          <a:xfrm>
            <a:off x="5386309" y="1460429"/>
            <a:ext cx="1419383" cy="4720451"/>
            <a:chOff x="5280370" y="1645625"/>
            <a:chExt cx="1419383" cy="4164428"/>
          </a:xfrm>
        </p:grpSpPr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722094A9-ADFB-54F4-7479-5AD026F3F898}"/>
                </a:ext>
              </a:extLst>
            </p:cNvPr>
            <p:cNvSpPr/>
            <p:nvPr/>
          </p:nvSpPr>
          <p:spPr>
            <a:xfrm>
              <a:off x="5280370" y="1645625"/>
              <a:ext cx="555359" cy="4164428"/>
            </a:xfrm>
            <a:custGeom>
              <a:avLst/>
              <a:gdLst>
                <a:gd name="connsiteX0" fmla="*/ 0 w 714375"/>
                <a:gd name="connsiteY0" fmla="*/ 0 h 3114675"/>
                <a:gd name="connsiteX1" fmla="*/ 714375 w 714375"/>
                <a:gd name="connsiteY1" fmla="*/ 0 h 3114675"/>
                <a:gd name="connsiteX2" fmla="*/ 714375 w 714375"/>
                <a:gd name="connsiteY2" fmla="*/ 3114675 h 3114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14375" h="3114675">
                  <a:moveTo>
                    <a:pt x="0" y="0"/>
                  </a:moveTo>
                  <a:lnTo>
                    <a:pt x="714375" y="0"/>
                  </a:lnTo>
                  <a:lnTo>
                    <a:pt x="714375" y="3114675"/>
                  </a:lnTo>
                </a:path>
              </a:pathLst>
            </a:custGeom>
            <a:noFill/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en-US" sz="2800">
                <a:solidFill>
                  <a:srgbClr val="FFFFFF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B75A1305-6962-4715-1764-AA6050F94DB1}"/>
                </a:ext>
              </a:extLst>
            </p:cNvPr>
            <p:cNvSpPr/>
            <p:nvPr/>
          </p:nvSpPr>
          <p:spPr>
            <a:xfrm flipH="1">
              <a:off x="6144394" y="1645625"/>
              <a:ext cx="555359" cy="4164428"/>
            </a:xfrm>
            <a:custGeom>
              <a:avLst/>
              <a:gdLst>
                <a:gd name="connsiteX0" fmla="*/ 0 w 714375"/>
                <a:gd name="connsiteY0" fmla="*/ 0 h 3114675"/>
                <a:gd name="connsiteX1" fmla="*/ 714375 w 714375"/>
                <a:gd name="connsiteY1" fmla="*/ 0 h 3114675"/>
                <a:gd name="connsiteX2" fmla="*/ 714375 w 714375"/>
                <a:gd name="connsiteY2" fmla="*/ 3114675 h 3114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14375" h="3114675">
                  <a:moveTo>
                    <a:pt x="0" y="0"/>
                  </a:moveTo>
                  <a:lnTo>
                    <a:pt x="714375" y="0"/>
                  </a:lnTo>
                  <a:lnTo>
                    <a:pt x="714375" y="3114675"/>
                  </a:lnTo>
                </a:path>
              </a:pathLst>
            </a:custGeom>
            <a:noFill/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en-US" sz="2800">
                <a:solidFill>
                  <a:srgbClr val="FFFFFF"/>
                </a:solidFill>
                <a:cs typeface="Arial" panose="020B0604020202020204" pitchFamily="34" charset="0"/>
              </a:endParaRPr>
            </a:p>
          </p:txBody>
        </p:sp>
      </p:grpSp>
      <p:sp>
        <p:nvSpPr>
          <p:cNvPr id="37" name="Rectangle 36">
            <a:extLst>
              <a:ext uri="{FF2B5EF4-FFF2-40B4-BE49-F238E27FC236}">
                <a16:creationId xmlns:a16="http://schemas.microsoft.com/office/drawing/2014/main" id="{6DAC4095-BBDB-2238-DD03-AF42314C46ED}"/>
              </a:ext>
            </a:extLst>
          </p:cNvPr>
          <p:cNvSpPr>
            <a:spLocks/>
          </p:cNvSpPr>
          <p:nvPr/>
        </p:nvSpPr>
        <p:spPr>
          <a:xfrm>
            <a:off x="732263" y="1229252"/>
            <a:ext cx="5034287" cy="489754"/>
          </a:xfrm>
          <a:prstGeom prst="rect">
            <a:avLst/>
          </a:prstGeom>
          <a:solidFill>
            <a:schemeClr val="accent1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algn="ctr">
              <a:defRPr/>
            </a:pPr>
            <a:r>
              <a:rPr lang="en-IN" sz="1600" b="1" dirty="0">
                <a:solidFill>
                  <a:schemeClr val="bg1"/>
                </a:solidFill>
                <a:cs typeface="Arial" panose="020B0604020202020204" pitchFamily="34" charset="0"/>
              </a:rPr>
              <a:t>Title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5A3C3E98-4E35-4666-84CF-17D02A5F180F}"/>
              </a:ext>
            </a:extLst>
          </p:cNvPr>
          <p:cNvSpPr>
            <a:spLocks/>
          </p:cNvSpPr>
          <p:nvPr/>
        </p:nvSpPr>
        <p:spPr>
          <a:xfrm>
            <a:off x="6425452" y="1229252"/>
            <a:ext cx="5034287" cy="489754"/>
          </a:xfrm>
          <a:prstGeom prst="rect">
            <a:avLst/>
          </a:prstGeom>
          <a:solidFill>
            <a:schemeClr val="accent1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algn="ctr">
              <a:defRPr/>
            </a:pPr>
            <a:r>
              <a:rPr lang="en-IN" sz="1600" b="1" dirty="0">
                <a:solidFill>
                  <a:schemeClr val="bg1"/>
                </a:solidFill>
                <a:cs typeface="Arial" panose="020B0604020202020204" pitchFamily="34" charset="0"/>
              </a:rPr>
              <a:t>Title</a:t>
            </a:r>
          </a:p>
        </p:txBody>
      </p:sp>
      <p:sp>
        <p:nvSpPr>
          <p:cNvPr id="39" name="Shape1_20210427_203713">
            <a:extLst>
              <a:ext uri="{FF2B5EF4-FFF2-40B4-BE49-F238E27FC236}">
                <a16:creationId xmlns:a16="http://schemas.microsoft.com/office/drawing/2014/main" id="{0DDE235F-F995-60DF-6712-89566940D293}"/>
              </a:ext>
            </a:extLst>
          </p:cNvPr>
          <p:cNvSpPr/>
          <p:nvPr/>
        </p:nvSpPr>
        <p:spPr>
          <a:xfrm>
            <a:off x="1440367" y="2126874"/>
            <a:ext cx="4221084" cy="246221"/>
          </a:xfrm>
          <a:prstGeom prst="rect">
            <a:avLst/>
          </a:prstGeom>
          <a:noFill/>
          <a:ln w="285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algn="l">
              <a:defRPr/>
            </a:pPr>
            <a:r>
              <a:rPr lang="en-US" sz="1600" dirty="0">
                <a:solidFill>
                  <a:schemeClr val="tx1"/>
                </a:solidFill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40" name="Shape0_20220517_164050">
            <a:extLst>
              <a:ext uri="{FF2B5EF4-FFF2-40B4-BE49-F238E27FC236}">
                <a16:creationId xmlns:a16="http://schemas.microsoft.com/office/drawing/2014/main" id="{43DDD357-7B0A-E539-7D0C-9AB500B91ADE}"/>
              </a:ext>
            </a:extLst>
          </p:cNvPr>
          <p:cNvSpPr/>
          <p:nvPr/>
        </p:nvSpPr>
        <p:spPr>
          <a:xfrm>
            <a:off x="732261" y="1994107"/>
            <a:ext cx="511759" cy="511759"/>
          </a:xfrm>
          <a:prstGeom prst="ellipse">
            <a:avLst/>
          </a:prstGeom>
          <a:solidFill>
            <a:srgbClr val="FFFFFF"/>
          </a:solidFill>
          <a:ln w="9525"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IN" sz="2400" dirty="0" err="1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41" name="Freeform: Shape 40">
            <a:extLst>
              <a:ext uri="{FF2B5EF4-FFF2-40B4-BE49-F238E27FC236}">
                <a16:creationId xmlns:a16="http://schemas.microsoft.com/office/drawing/2014/main" id="{A9E4FDE4-ED51-11CF-0469-8E4119A95101}"/>
              </a:ext>
            </a:extLst>
          </p:cNvPr>
          <p:cNvSpPr/>
          <p:nvPr/>
        </p:nvSpPr>
        <p:spPr>
          <a:xfrm>
            <a:off x="844587" y="2140728"/>
            <a:ext cx="287119" cy="218509"/>
          </a:xfrm>
          <a:custGeom>
            <a:avLst/>
            <a:gdLst>
              <a:gd name="connsiteX0" fmla="*/ 136303 w 323659"/>
              <a:gd name="connsiteY0" fmla="*/ 246317 h 246316"/>
              <a:gd name="connsiteX1" fmla="*/ 0 w 323659"/>
              <a:gd name="connsiteY1" fmla="*/ 115824 h 246316"/>
              <a:gd name="connsiteX2" fmla="*/ 50959 w 323659"/>
              <a:gd name="connsiteY2" fmla="*/ 62579 h 246316"/>
              <a:gd name="connsiteX3" fmla="*/ 134112 w 323659"/>
              <a:gd name="connsiteY3" fmla="*/ 142113 h 246316"/>
              <a:gd name="connsiteX4" fmla="*/ 270415 w 323659"/>
              <a:gd name="connsiteY4" fmla="*/ 0 h 246316"/>
              <a:gd name="connsiteX5" fmla="*/ 323660 w 323659"/>
              <a:gd name="connsiteY5" fmla="*/ 50959 h 246316"/>
              <a:gd name="connsiteX6" fmla="*/ 136303 w 323659"/>
              <a:gd name="connsiteY6" fmla="*/ 246317 h 2463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23659" h="246316">
                <a:moveTo>
                  <a:pt x="136303" y="246317"/>
                </a:moveTo>
                <a:lnTo>
                  <a:pt x="0" y="115824"/>
                </a:lnTo>
                <a:lnTo>
                  <a:pt x="50959" y="62579"/>
                </a:lnTo>
                <a:lnTo>
                  <a:pt x="134112" y="142113"/>
                </a:lnTo>
                <a:lnTo>
                  <a:pt x="270415" y="0"/>
                </a:lnTo>
                <a:lnTo>
                  <a:pt x="323660" y="50959"/>
                </a:lnTo>
                <a:lnTo>
                  <a:pt x="136303" y="246317"/>
                </a:lnTo>
                <a:close/>
              </a:path>
            </a:pathLst>
          </a:custGeom>
          <a:solidFill>
            <a:srgbClr val="0B8A9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750715">
              <a:defRPr/>
            </a:pPr>
            <a:endParaRPr lang="en-IN" sz="2400">
              <a:solidFill>
                <a:srgbClr val="070605"/>
              </a:solidFill>
              <a:cs typeface="Arial" panose="020B0604020202020204" pitchFamily="34" charset="0"/>
            </a:endParaRPr>
          </a:p>
        </p:txBody>
      </p:sp>
      <p:sp>
        <p:nvSpPr>
          <p:cNvPr id="42" name="Shape0_20210427_203713">
            <a:extLst>
              <a:ext uri="{FF2B5EF4-FFF2-40B4-BE49-F238E27FC236}">
                <a16:creationId xmlns:a16="http://schemas.microsoft.com/office/drawing/2014/main" id="{C5448A0D-7DD3-0310-F0E9-BDDB9D142514}"/>
              </a:ext>
            </a:extLst>
          </p:cNvPr>
          <p:cNvSpPr/>
          <p:nvPr/>
        </p:nvSpPr>
        <p:spPr>
          <a:xfrm>
            <a:off x="7129247" y="2126874"/>
            <a:ext cx="4221084" cy="246221"/>
          </a:xfrm>
          <a:prstGeom prst="rect">
            <a:avLst/>
          </a:prstGeom>
          <a:noFill/>
          <a:ln w="285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algn="l">
              <a:defRPr/>
            </a:pPr>
            <a:r>
              <a:rPr lang="en-US" sz="1600" dirty="0">
                <a:solidFill>
                  <a:schemeClr val="tx1"/>
                </a:solidFill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43" name="Shape1_20220517_164050">
            <a:extLst>
              <a:ext uri="{FF2B5EF4-FFF2-40B4-BE49-F238E27FC236}">
                <a16:creationId xmlns:a16="http://schemas.microsoft.com/office/drawing/2014/main" id="{3987198A-FFEC-8835-D85E-8FC933502199}"/>
              </a:ext>
            </a:extLst>
          </p:cNvPr>
          <p:cNvSpPr/>
          <p:nvPr/>
        </p:nvSpPr>
        <p:spPr>
          <a:xfrm>
            <a:off x="6425451" y="1994107"/>
            <a:ext cx="511759" cy="511759"/>
          </a:xfrm>
          <a:prstGeom prst="ellipse">
            <a:avLst/>
          </a:prstGeom>
          <a:solidFill>
            <a:srgbClr val="FFFFFF"/>
          </a:solidFill>
          <a:ln w="9525"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IN" sz="2400" dirty="0" err="1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44" name="Freeform: Shape 43">
            <a:extLst>
              <a:ext uri="{FF2B5EF4-FFF2-40B4-BE49-F238E27FC236}">
                <a16:creationId xmlns:a16="http://schemas.microsoft.com/office/drawing/2014/main" id="{45463AFE-FD98-B351-AACB-23EC435D6F89}"/>
              </a:ext>
            </a:extLst>
          </p:cNvPr>
          <p:cNvSpPr/>
          <p:nvPr/>
        </p:nvSpPr>
        <p:spPr>
          <a:xfrm>
            <a:off x="6537775" y="2140728"/>
            <a:ext cx="287119" cy="218509"/>
          </a:xfrm>
          <a:custGeom>
            <a:avLst/>
            <a:gdLst>
              <a:gd name="connsiteX0" fmla="*/ 136303 w 323659"/>
              <a:gd name="connsiteY0" fmla="*/ 246317 h 246316"/>
              <a:gd name="connsiteX1" fmla="*/ 0 w 323659"/>
              <a:gd name="connsiteY1" fmla="*/ 115824 h 246316"/>
              <a:gd name="connsiteX2" fmla="*/ 50959 w 323659"/>
              <a:gd name="connsiteY2" fmla="*/ 62579 h 246316"/>
              <a:gd name="connsiteX3" fmla="*/ 134112 w 323659"/>
              <a:gd name="connsiteY3" fmla="*/ 142113 h 246316"/>
              <a:gd name="connsiteX4" fmla="*/ 270415 w 323659"/>
              <a:gd name="connsiteY4" fmla="*/ 0 h 246316"/>
              <a:gd name="connsiteX5" fmla="*/ 323660 w 323659"/>
              <a:gd name="connsiteY5" fmla="*/ 50959 h 246316"/>
              <a:gd name="connsiteX6" fmla="*/ 136303 w 323659"/>
              <a:gd name="connsiteY6" fmla="*/ 246317 h 2463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23659" h="246316">
                <a:moveTo>
                  <a:pt x="136303" y="246317"/>
                </a:moveTo>
                <a:lnTo>
                  <a:pt x="0" y="115824"/>
                </a:lnTo>
                <a:lnTo>
                  <a:pt x="50959" y="62579"/>
                </a:lnTo>
                <a:lnTo>
                  <a:pt x="134112" y="142113"/>
                </a:lnTo>
                <a:lnTo>
                  <a:pt x="270415" y="0"/>
                </a:lnTo>
                <a:lnTo>
                  <a:pt x="323660" y="50959"/>
                </a:lnTo>
                <a:lnTo>
                  <a:pt x="136303" y="246317"/>
                </a:lnTo>
                <a:close/>
              </a:path>
            </a:pathLst>
          </a:custGeom>
          <a:solidFill>
            <a:srgbClr val="0B8A9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750715">
              <a:defRPr/>
            </a:pPr>
            <a:endParaRPr lang="en-IN" sz="2400">
              <a:solidFill>
                <a:srgbClr val="070605"/>
              </a:solidFill>
              <a:cs typeface="Arial" panose="020B0604020202020204" pitchFamily="34" charset="0"/>
            </a:endParaRPr>
          </a:p>
        </p:txBody>
      </p:sp>
      <p:sp>
        <p:nvSpPr>
          <p:cNvPr id="45" name="Shape4_20210427_203713">
            <a:extLst>
              <a:ext uri="{FF2B5EF4-FFF2-40B4-BE49-F238E27FC236}">
                <a16:creationId xmlns:a16="http://schemas.microsoft.com/office/drawing/2014/main" id="{12E0F0D1-73A0-8B50-A880-261727A54C2C}"/>
              </a:ext>
            </a:extLst>
          </p:cNvPr>
          <p:cNvSpPr/>
          <p:nvPr/>
        </p:nvSpPr>
        <p:spPr>
          <a:xfrm>
            <a:off x="1440367" y="4079804"/>
            <a:ext cx="4221084" cy="246221"/>
          </a:xfrm>
          <a:prstGeom prst="rect">
            <a:avLst/>
          </a:prstGeom>
          <a:noFill/>
          <a:ln w="285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algn="l">
              <a:defRPr/>
            </a:pPr>
            <a:r>
              <a:rPr lang="en-US" sz="1600" dirty="0">
                <a:solidFill>
                  <a:schemeClr val="tx1"/>
                </a:solidFill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46" name="Shape2_20220517_164050">
            <a:extLst>
              <a:ext uri="{FF2B5EF4-FFF2-40B4-BE49-F238E27FC236}">
                <a16:creationId xmlns:a16="http://schemas.microsoft.com/office/drawing/2014/main" id="{74AD3D3E-4970-E046-7BC5-0F38003D8F4C}"/>
              </a:ext>
            </a:extLst>
          </p:cNvPr>
          <p:cNvSpPr/>
          <p:nvPr/>
        </p:nvSpPr>
        <p:spPr>
          <a:xfrm>
            <a:off x="732261" y="3947032"/>
            <a:ext cx="511759" cy="511759"/>
          </a:xfrm>
          <a:prstGeom prst="ellipse">
            <a:avLst/>
          </a:prstGeom>
          <a:solidFill>
            <a:srgbClr val="FFFFFF"/>
          </a:solidFill>
          <a:ln w="9525"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IN" sz="2400" dirty="0" err="1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47" name="Freeform: Shape 46">
            <a:extLst>
              <a:ext uri="{FF2B5EF4-FFF2-40B4-BE49-F238E27FC236}">
                <a16:creationId xmlns:a16="http://schemas.microsoft.com/office/drawing/2014/main" id="{1B4AC701-3BF9-18D7-DFE2-FE51AD2EC900}"/>
              </a:ext>
            </a:extLst>
          </p:cNvPr>
          <p:cNvSpPr/>
          <p:nvPr/>
        </p:nvSpPr>
        <p:spPr>
          <a:xfrm>
            <a:off x="844587" y="4093657"/>
            <a:ext cx="287119" cy="218509"/>
          </a:xfrm>
          <a:custGeom>
            <a:avLst/>
            <a:gdLst>
              <a:gd name="connsiteX0" fmla="*/ 136303 w 323659"/>
              <a:gd name="connsiteY0" fmla="*/ 246317 h 246316"/>
              <a:gd name="connsiteX1" fmla="*/ 0 w 323659"/>
              <a:gd name="connsiteY1" fmla="*/ 115824 h 246316"/>
              <a:gd name="connsiteX2" fmla="*/ 50959 w 323659"/>
              <a:gd name="connsiteY2" fmla="*/ 62579 h 246316"/>
              <a:gd name="connsiteX3" fmla="*/ 134112 w 323659"/>
              <a:gd name="connsiteY3" fmla="*/ 142113 h 246316"/>
              <a:gd name="connsiteX4" fmla="*/ 270415 w 323659"/>
              <a:gd name="connsiteY4" fmla="*/ 0 h 246316"/>
              <a:gd name="connsiteX5" fmla="*/ 323660 w 323659"/>
              <a:gd name="connsiteY5" fmla="*/ 50959 h 246316"/>
              <a:gd name="connsiteX6" fmla="*/ 136303 w 323659"/>
              <a:gd name="connsiteY6" fmla="*/ 246317 h 2463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23659" h="246316">
                <a:moveTo>
                  <a:pt x="136303" y="246317"/>
                </a:moveTo>
                <a:lnTo>
                  <a:pt x="0" y="115824"/>
                </a:lnTo>
                <a:lnTo>
                  <a:pt x="50959" y="62579"/>
                </a:lnTo>
                <a:lnTo>
                  <a:pt x="134112" y="142113"/>
                </a:lnTo>
                <a:lnTo>
                  <a:pt x="270415" y="0"/>
                </a:lnTo>
                <a:lnTo>
                  <a:pt x="323660" y="50959"/>
                </a:lnTo>
                <a:lnTo>
                  <a:pt x="136303" y="246317"/>
                </a:lnTo>
                <a:close/>
              </a:path>
            </a:pathLst>
          </a:custGeom>
          <a:solidFill>
            <a:srgbClr val="0B8A9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750715">
              <a:defRPr/>
            </a:pPr>
            <a:endParaRPr lang="en-IN" sz="2400">
              <a:solidFill>
                <a:srgbClr val="070605"/>
              </a:solidFill>
              <a:cs typeface="Arial" panose="020B0604020202020204" pitchFamily="34" charset="0"/>
            </a:endParaRPr>
          </a:p>
        </p:txBody>
      </p:sp>
      <p:sp>
        <p:nvSpPr>
          <p:cNvPr id="48" name="Shape7_20210427_203713">
            <a:extLst>
              <a:ext uri="{FF2B5EF4-FFF2-40B4-BE49-F238E27FC236}">
                <a16:creationId xmlns:a16="http://schemas.microsoft.com/office/drawing/2014/main" id="{6B668816-C827-F39D-37B1-DDAE25DC4726}"/>
              </a:ext>
            </a:extLst>
          </p:cNvPr>
          <p:cNvSpPr/>
          <p:nvPr/>
        </p:nvSpPr>
        <p:spPr>
          <a:xfrm>
            <a:off x="7129247" y="4079804"/>
            <a:ext cx="4221084" cy="246221"/>
          </a:xfrm>
          <a:prstGeom prst="rect">
            <a:avLst/>
          </a:prstGeom>
          <a:noFill/>
          <a:ln w="285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algn="l">
              <a:defRPr/>
            </a:pPr>
            <a:r>
              <a:rPr lang="en-US" sz="1600" dirty="0">
                <a:solidFill>
                  <a:schemeClr val="tx1"/>
                </a:solidFill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49" name="Shape3_20220517_164050">
            <a:extLst>
              <a:ext uri="{FF2B5EF4-FFF2-40B4-BE49-F238E27FC236}">
                <a16:creationId xmlns:a16="http://schemas.microsoft.com/office/drawing/2014/main" id="{9ED13A7E-4E4E-9B1F-51C3-E1027DB78FC4}"/>
              </a:ext>
            </a:extLst>
          </p:cNvPr>
          <p:cNvSpPr/>
          <p:nvPr/>
        </p:nvSpPr>
        <p:spPr>
          <a:xfrm>
            <a:off x="6425451" y="3947032"/>
            <a:ext cx="511759" cy="511759"/>
          </a:xfrm>
          <a:prstGeom prst="ellipse">
            <a:avLst/>
          </a:prstGeom>
          <a:solidFill>
            <a:srgbClr val="FFFFFF"/>
          </a:solidFill>
          <a:ln w="9525"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IN" sz="2400" dirty="0" err="1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50" name="Freeform: Shape 49">
            <a:extLst>
              <a:ext uri="{FF2B5EF4-FFF2-40B4-BE49-F238E27FC236}">
                <a16:creationId xmlns:a16="http://schemas.microsoft.com/office/drawing/2014/main" id="{0C026654-FF0F-4882-6C13-0541C73F75DF}"/>
              </a:ext>
            </a:extLst>
          </p:cNvPr>
          <p:cNvSpPr/>
          <p:nvPr/>
        </p:nvSpPr>
        <p:spPr>
          <a:xfrm>
            <a:off x="6537775" y="4093657"/>
            <a:ext cx="287119" cy="218509"/>
          </a:xfrm>
          <a:custGeom>
            <a:avLst/>
            <a:gdLst>
              <a:gd name="connsiteX0" fmla="*/ 136303 w 323659"/>
              <a:gd name="connsiteY0" fmla="*/ 246317 h 246316"/>
              <a:gd name="connsiteX1" fmla="*/ 0 w 323659"/>
              <a:gd name="connsiteY1" fmla="*/ 115824 h 246316"/>
              <a:gd name="connsiteX2" fmla="*/ 50959 w 323659"/>
              <a:gd name="connsiteY2" fmla="*/ 62579 h 246316"/>
              <a:gd name="connsiteX3" fmla="*/ 134112 w 323659"/>
              <a:gd name="connsiteY3" fmla="*/ 142113 h 246316"/>
              <a:gd name="connsiteX4" fmla="*/ 270415 w 323659"/>
              <a:gd name="connsiteY4" fmla="*/ 0 h 246316"/>
              <a:gd name="connsiteX5" fmla="*/ 323660 w 323659"/>
              <a:gd name="connsiteY5" fmla="*/ 50959 h 246316"/>
              <a:gd name="connsiteX6" fmla="*/ 136303 w 323659"/>
              <a:gd name="connsiteY6" fmla="*/ 246317 h 2463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23659" h="246316">
                <a:moveTo>
                  <a:pt x="136303" y="246317"/>
                </a:moveTo>
                <a:lnTo>
                  <a:pt x="0" y="115824"/>
                </a:lnTo>
                <a:lnTo>
                  <a:pt x="50959" y="62579"/>
                </a:lnTo>
                <a:lnTo>
                  <a:pt x="134112" y="142113"/>
                </a:lnTo>
                <a:lnTo>
                  <a:pt x="270415" y="0"/>
                </a:lnTo>
                <a:lnTo>
                  <a:pt x="323660" y="50959"/>
                </a:lnTo>
                <a:lnTo>
                  <a:pt x="136303" y="246317"/>
                </a:lnTo>
                <a:close/>
              </a:path>
            </a:pathLst>
          </a:custGeom>
          <a:solidFill>
            <a:srgbClr val="0B8A9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750715">
              <a:defRPr/>
            </a:pPr>
            <a:endParaRPr lang="en-IN" sz="2400">
              <a:solidFill>
                <a:srgbClr val="070605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0773278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2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7E0080"/>
      </a:accent1>
      <a:accent2>
        <a:srgbClr val="9B51B4"/>
      </a:accent2>
      <a:accent3>
        <a:srgbClr val="DF6FA0"/>
      </a:accent3>
      <a:accent4>
        <a:srgbClr val="EF224B"/>
      </a:accent4>
      <a:accent5>
        <a:srgbClr val="C20232"/>
      </a:accent5>
      <a:accent6>
        <a:srgbClr val="7F7F7F"/>
      </a:accent6>
      <a:hlink>
        <a:srgbClr val="0563C1"/>
      </a:hlink>
      <a:folHlink>
        <a:srgbClr val="954F72"/>
      </a:folHlink>
    </a:clrScheme>
    <a:fontScheme name="Custom 7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595</TotalTime>
  <Words>16</Words>
  <Application>Microsoft Office PowerPoint</Application>
  <PresentationFormat>Widescreen</PresentationFormat>
  <Paragraphs>8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Calibri</vt:lpstr>
      <vt:lpstr>Courier New</vt:lpstr>
      <vt:lpstr>Crimson Pro</vt:lpstr>
      <vt:lpstr>Wingdings</vt:lpstr>
      <vt:lpstr>Office Theme</vt:lpstr>
      <vt:lpstr>think-cell Slide</vt:lpstr>
      <vt:lpstr>Text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Analyst Academy LLC</dc:creator>
  <cp:keywords/>
  <dc:description/>
  <cp:lastModifiedBy>Diam Cabatay</cp:lastModifiedBy>
  <cp:revision>522</cp:revision>
  <dcterms:created xsi:type="dcterms:W3CDTF">2021-03-31T02:49:57Z</dcterms:created>
  <dcterms:modified xsi:type="dcterms:W3CDTF">2025-10-15T08:38:57Z</dcterms:modified>
  <cp:category/>
</cp:coreProperties>
</file>